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</p:sldIdLst>
  <p:sldSz cx="6858000" cy="12192000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237A46-0CDE-4477-8A26-547BCE1C1E8F}" v="47" dt="2023-01-23T19:24:16.91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12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439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as Weigl-Pollack" userId="976cfadb-7690-4050-b4fc-58625d8649b1" providerId="ADAL" clId="{88237A46-0CDE-4477-8A26-547BCE1C1E8F}"/>
    <pc:docChg chg="undo custSel modSld modMainMaster replTag">
      <pc:chgData name="Andreas Weigl-Pollack" userId="976cfadb-7690-4050-b4fc-58625d8649b1" providerId="ADAL" clId="{88237A46-0CDE-4477-8A26-547BCE1C1E8F}" dt="2023-01-23T19:24:16.912" v="422" actId="478"/>
      <pc:docMkLst>
        <pc:docMk/>
      </pc:docMkLst>
      <pc:sldChg chg="addSp delSp modSp mod">
        <pc:chgData name="Andreas Weigl-Pollack" userId="976cfadb-7690-4050-b4fc-58625d8649b1" providerId="ADAL" clId="{88237A46-0CDE-4477-8A26-547BCE1C1E8F}" dt="2023-01-23T19:24:16.912" v="422" actId="478"/>
        <pc:sldMkLst>
          <pc:docMk/>
          <pc:sldMk cId="809093960" sldId="256"/>
        </pc:sldMkLst>
        <pc:spChg chg="add del">
          <ac:chgData name="Andreas Weigl-Pollack" userId="976cfadb-7690-4050-b4fc-58625d8649b1" providerId="ADAL" clId="{88237A46-0CDE-4477-8A26-547BCE1C1E8F}" dt="2023-01-23T19:08:23.901" v="1"/>
          <ac:spMkLst>
            <pc:docMk/>
            <pc:sldMk cId="809093960" sldId="256"/>
            <ac:spMk id="2" creationId="{1668C5E7-9A81-85C1-B92F-249A84528D8C}"/>
          </ac:spMkLst>
        </pc:spChg>
        <pc:spChg chg="add del">
          <ac:chgData name="Andreas Weigl-Pollack" userId="976cfadb-7690-4050-b4fc-58625d8649b1" providerId="ADAL" clId="{88237A46-0CDE-4477-8A26-547BCE1C1E8F}" dt="2023-01-23T19:08:52.254" v="5"/>
          <ac:spMkLst>
            <pc:docMk/>
            <pc:sldMk cId="809093960" sldId="256"/>
            <ac:spMk id="3" creationId="{F4366A3D-AE2F-B197-C215-61306EB35617}"/>
          </ac:spMkLst>
        </pc:spChg>
        <pc:spChg chg="mod">
          <ac:chgData name="Andreas Weigl-Pollack" userId="976cfadb-7690-4050-b4fc-58625d8649b1" providerId="ADAL" clId="{88237A46-0CDE-4477-8A26-547BCE1C1E8F}" dt="2023-01-23T19:22:16.868" v="421" actId="1076"/>
          <ac:spMkLst>
            <pc:docMk/>
            <pc:sldMk cId="809093960" sldId="256"/>
            <ac:spMk id="5" creationId="{4B62A49E-57C8-A561-8187-E8226DAF09F0}"/>
          </ac:spMkLst>
        </pc:spChg>
        <pc:spChg chg="mod">
          <ac:chgData name="Andreas Weigl-Pollack" userId="976cfadb-7690-4050-b4fc-58625d8649b1" providerId="ADAL" clId="{88237A46-0CDE-4477-8A26-547BCE1C1E8F}" dt="2023-01-23T19:18:05.896" v="405" actId="1076"/>
          <ac:spMkLst>
            <pc:docMk/>
            <pc:sldMk cId="809093960" sldId="256"/>
            <ac:spMk id="6" creationId="{2317B453-0A14-B189-1DF9-462D9D7DEB85}"/>
          </ac:spMkLst>
        </pc:spChg>
        <pc:spChg chg="mod">
          <ac:chgData name="Andreas Weigl-Pollack" userId="976cfadb-7690-4050-b4fc-58625d8649b1" providerId="ADAL" clId="{88237A46-0CDE-4477-8A26-547BCE1C1E8F}" dt="2023-01-23T19:18:05.896" v="405" actId="1076"/>
          <ac:spMkLst>
            <pc:docMk/>
            <pc:sldMk cId="809093960" sldId="256"/>
            <ac:spMk id="7" creationId="{51C65BB2-A706-980A-47C4-A528BACE5044}"/>
          </ac:spMkLst>
        </pc:spChg>
        <pc:spChg chg="mod">
          <ac:chgData name="Andreas Weigl-Pollack" userId="976cfadb-7690-4050-b4fc-58625d8649b1" providerId="ADAL" clId="{88237A46-0CDE-4477-8A26-547BCE1C1E8F}" dt="2023-01-23T19:19:16.121" v="415" actId="207"/>
          <ac:spMkLst>
            <pc:docMk/>
            <pc:sldMk cId="809093960" sldId="256"/>
            <ac:spMk id="8" creationId="{C5D0904C-02D3-9F69-4485-E4B0A8321707}"/>
          </ac:spMkLst>
        </pc:spChg>
        <pc:spChg chg="mod">
          <ac:chgData name="Andreas Weigl-Pollack" userId="976cfadb-7690-4050-b4fc-58625d8649b1" providerId="ADAL" clId="{88237A46-0CDE-4477-8A26-547BCE1C1E8F}" dt="2023-01-23T19:18:13.156" v="407" actId="14100"/>
          <ac:spMkLst>
            <pc:docMk/>
            <pc:sldMk cId="809093960" sldId="256"/>
            <ac:spMk id="9" creationId="{82CB452D-CB1D-2866-4F1D-670AE21AE0DF}"/>
          </ac:spMkLst>
        </pc:spChg>
        <pc:spChg chg="add mod">
          <ac:chgData name="Andreas Weigl-Pollack" userId="976cfadb-7690-4050-b4fc-58625d8649b1" providerId="ADAL" clId="{88237A46-0CDE-4477-8A26-547BCE1C1E8F}" dt="2023-01-23T19:18:05.896" v="405" actId="1076"/>
          <ac:spMkLst>
            <pc:docMk/>
            <pc:sldMk cId="809093960" sldId="256"/>
            <ac:spMk id="10" creationId="{39D758A6-E83F-F2B5-5ECD-852765FAF7C4}"/>
          </ac:spMkLst>
        </pc:spChg>
        <pc:spChg chg="add mod">
          <ac:chgData name="Andreas Weigl-Pollack" userId="976cfadb-7690-4050-b4fc-58625d8649b1" providerId="ADAL" clId="{88237A46-0CDE-4477-8A26-547BCE1C1E8F}" dt="2023-01-23T19:18:29.141" v="410" actId="1076"/>
          <ac:spMkLst>
            <pc:docMk/>
            <pc:sldMk cId="809093960" sldId="256"/>
            <ac:spMk id="13" creationId="{1114CF36-7D20-A2E1-5520-D336375A87A7}"/>
          </ac:spMkLst>
        </pc:spChg>
        <pc:spChg chg="mod">
          <ac:chgData name="Andreas Weigl-Pollack" userId="976cfadb-7690-4050-b4fc-58625d8649b1" providerId="ADAL" clId="{88237A46-0CDE-4477-8A26-547BCE1C1E8F}" dt="2023-01-23T19:10:21.061" v="192"/>
          <ac:spMkLst>
            <pc:docMk/>
            <pc:sldMk cId="809093960" sldId="256"/>
            <ac:spMk id="14" creationId="{21E94117-4D96-2C3F-8136-EF158B9FDA2A}"/>
          </ac:spMkLst>
        </pc:spChg>
        <pc:spChg chg="add del">
          <ac:chgData name="Andreas Weigl-Pollack" userId="976cfadb-7690-4050-b4fc-58625d8649b1" providerId="ADAL" clId="{88237A46-0CDE-4477-8A26-547BCE1C1E8F}" dt="2023-01-23T19:24:16.912" v="422" actId="478"/>
          <ac:spMkLst>
            <pc:docMk/>
            <pc:sldMk cId="809093960" sldId="256"/>
            <ac:spMk id="15" creationId="{40EC114A-CF7E-4576-A3E9-BD3AE6B4F925}"/>
          </ac:spMkLst>
        </pc:spChg>
        <pc:spChg chg="mod">
          <ac:chgData name="Andreas Weigl-Pollack" userId="976cfadb-7690-4050-b4fc-58625d8649b1" providerId="ADAL" clId="{88237A46-0CDE-4477-8A26-547BCE1C1E8F}" dt="2023-01-23T19:18:05.896" v="405" actId="1076"/>
          <ac:spMkLst>
            <pc:docMk/>
            <pc:sldMk cId="809093960" sldId="256"/>
            <ac:spMk id="17" creationId="{8D1C781D-3131-78FD-837B-B9D109696F20}"/>
          </ac:spMkLst>
        </pc:spChg>
        <pc:spChg chg="add del mod">
          <ac:chgData name="Andreas Weigl-Pollack" userId="976cfadb-7690-4050-b4fc-58625d8649b1" providerId="ADAL" clId="{88237A46-0CDE-4477-8A26-547BCE1C1E8F}" dt="2023-01-23T19:24:16.912" v="422" actId="478"/>
          <ac:spMkLst>
            <pc:docMk/>
            <pc:sldMk cId="809093960" sldId="256"/>
            <ac:spMk id="18" creationId="{E174059E-82E9-B4DC-4F6C-86D0D3504254}"/>
          </ac:spMkLst>
        </pc:spChg>
        <pc:spChg chg="add del mod">
          <ac:chgData name="Andreas Weigl-Pollack" userId="976cfadb-7690-4050-b4fc-58625d8649b1" providerId="ADAL" clId="{88237A46-0CDE-4477-8A26-547BCE1C1E8F}" dt="2023-01-23T19:24:16.912" v="422" actId="478"/>
          <ac:spMkLst>
            <pc:docMk/>
            <pc:sldMk cId="809093960" sldId="256"/>
            <ac:spMk id="19" creationId="{879716FB-32E8-0C9E-5B0D-1DEDD7BCE823}"/>
          </ac:spMkLst>
        </pc:spChg>
        <pc:spChg chg="mod">
          <ac:chgData name="Andreas Weigl-Pollack" userId="976cfadb-7690-4050-b4fc-58625d8649b1" providerId="ADAL" clId="{88237A46-0CDE-4477-8A26-547BCE1C1E8F}" dt="2023-01-23T19:18:05.896" v="405" actId="1076"/>
          <ac:spMkLst>
            <pc:docMk/>
            <pc:sldMk cId="809093960" sldId="256"/>
            <ac:spMk id="23" creationId="{C2E226B4-9FCC-98B2-0AAB-C024B171AEC2}"/>
          </ac:spMkLst>
        </pc:spChg>
        <pc:spChg chg="add mod">
          <ac:chgData name="Andreas Weigl-Pollack" userId="976cfadb-7690-4050-b4fc-58625d8649b1" providerId="ADAL" clId="{88237A46-0CDE-4477-8A26-547BCE1C1E8F}" dt="2023-01-23T19:13:59.014" v="310" actId="1076"/>
          <ac:spMkLst>
            <pc:docMk/>
            <pc:sldMk cId="809093960" sldId="256"/>
            <ac:spMk id="26" creationId="{3F2A48BD-E575-26A1-531B-A8D2D03ED6EC}"/>
          </ac:spMkLst>
        </pc:spChg>
        <pc:spChg chg="add mod">
          <ac:chgData name="Andreas Weigl-Pollack" userId="976cfadb-7690-4050-b4fc-58625d8649b1" providerId="ADAL" clId="{88237A46-0CDE-4477-8A26-547BCE1C1E8F}" dt="2023-01-23T19:16:04.617" v="374" actId="1076"/>
          <ac:spMkLst>
            <pc:docMk/>
            <pc:sldMk cId="809093960" sldId="256"/>
            <ac:spMk id="31" creationId="{83F89786-7CBF-3B5E-8583-85BE69EAA1B6}"/>
          </ac:spMkLst>
        </pc:spChg>
        <pc:spChg chg="mod">
          <ac:chgData name="Andreas Weigl-Pollack" userId="976cfadb-7690-4050-b4fc-58625d8649b1" providerId="ADAL" clId="{88237A46-0CDE-4477-8A26-547BCE1C1E8F}" dt="2023-01-23T19:18:19.418" v="408" actId="1076"/>
          <ac:spMkLst>
            <pc:docMk/>
            <pc:sldMk cId="809093960" sldId="256"/>
            <ac:spMk id="33" creationId="{A47D44AF-395B-6D9A-74E0-0CE7CD5AFDDA}"/>
          </ac:spMkLst>
        </pc:spChg>
        <pc:spChg chg="mod">
          <ac:chgData name="Andreas Weigl-Pollack" userId="976cfadb-7690-4050-b4fc-58625d8649b1" providerId="ADAL" clId="{88237A46-0CDE-4477-8A26-547BCE1C1E8F}" dt="2023-01-23T19:10:21.061" v="192"/>
          <ac:spMkLst>
            <pc:docMk/>
            <pc:sldMk cId="809093960" sldId="256"/>
            <ac:spMk id="35" creationId="{A8835018-569D-C58A-1BED-8EAA8099C655}"/>
          </ac:spMkLst>
        </pc:spChg>
        <pc:spChg chg="mod">
          <ac:chgData name="Andreas Weigl-Pollack" userId="976cfadb-7690-4050-b4fc-58625d8649b1" providerId="ADAL" clId="{88237A46-0CDE-4477-8A26-547BCE1C1E8F}" dt="2023-01-23T19:10:21.061" v="192"/>
          <ac:spMkLst>
            <pc:docMk/>
            <pc:sldMk cId="809093960" sldId="256"/>
            <ac:spMk id="36" creationId="{67699A29-C693-A672-387F-BB50CF6118DC}"/>
          </ac:spMkLst>
        </pc:spChg>
        <pc:spChg chg="mod">
          <ac:chgData name="Andreas Weigl-Pollack" userId="976cfadb-7690-4050-b4fc-58625d8649b1" providerId="ADAL" clId="{88237A46-0CDE-4477-8A26-547BCE1C1E8F}" dt="2023-01-23T19:10:21.061" v="192"/>
          <ac:spMkLst>
            <pc:docMk/>
            <pc:sldMk cId="809093960" sldId="256"/>
            <ac:spMk id="37" creationId="{05F0834D-8A35-AEBC-861A-DCD16D959AD6}"/>
          </ac:spMkLst>
        </pc:spChg>
        <pc:spChg chg="mod">
          <ac:chgData name="Andreas Weigl-Pollack" userId="976cfadb-7690-4050-b4fc-58625d8649b1" providerId="ADAL" clId="{88237A46-0CDE-4477-8A26-547BCE1C1E8F}" dt="2023-01-23T19:15:10.627" v="345" actId="1076"/>
          <ac:spMkLst>
            <pc:docMk/>
            <pc:sldMk cId="809093960" sldId="256"/>
            <ac:spMk id="38" creationId="{9798EB3E-CD20-BC3E-59F8-7488AB578BDE}"/>
          </ac:spMkLst>
        </pc:spChg>
        <pc:spChg chg="mod">
          <ac:chgData name="Andreas Weigl-Pollack" userId="976cfadb-7690-4050-b4fc-58625d8649b1" providerId="ADAL" clId="{88237A46-0CDE-4477-8A26-547BCE1C1E8F}" dt="2023-01-23T19:10:21.061" v="192"/>
          <ac:spMkLst>
            <pc:docMk/>
            <pc:sldMk cId="809093960" sldId="256"/>
            <ac:spMk id="39" creationId="{F0110C44-D4F2-8925-FCF9-0565ADD533CE}"/>
          </ac:spMkLst>
        </pc:spChg>
        <pc:spChg chg="del mod">
          <ac:chgData name="Andreas Weigl-Pollack" userId="976cfadb-7690-4050-b4fc-58625d8649b1" providerId="ADAL" clId="{88237A46-0CDE-4477-8A26-547BCE1C1E8F}" dt="2023-01-23T19:13:53.334" v="309" actId="478"/>
          <ac:spMkLst>
            <pc:docMk/>
            <pc:sldMk cId="809093960" sldId="256"/>
            <ac:spMk id="40" creationId="{8B1DEDD9-DB4D-9C79-ACD0-FFD2C5FCF8E9}"/>
          </ac:spMkLst>
        </pc:spChg>
        <pc:spChg chg="mod">
          <ac:chgData name="Andreas Weigl-Pollack" userId="976cfadb-7690-4050-b4fc-58625d8649b1" providerId="ADAL" clId="{88237A46-0CDE-4477-8A26-547BCE1C1E8F}" dt="2023-01-23T19:13:03.026" v="295" actId="20577"/>
          <ac:spMkLst>
            <pc:docMk/>
            <pc:sldMk cId="809093960" sldId="256"/>
            <ac:spMk id="46" creationId="{BED1236A-E4AE-0CB1-51D0-643C2E768123}"/>
          </ac:spMkLst>
        </pc:spChg>
        <pc:spChg chg="add mod">
          <ac:chgData name="Andreas Weigl-Pollack" userId="976cfadb-7690-4050-b4fc-58625d8649b1" providerId="ADAL" clId="{88237A46-0CDE-4477-8A26-547BCE1C1E8F}" dt="2023-01-23T19:16:01.059" v="373" actId="1076"/>
          <ac:spMkLst>
            <pc:docMk/>
            <pc:sldMk cId="809093960" sldId="256"/>
            <ac:spMk id="47" creationId="{FA146704-FFDA-372E-73E2-4030CF7C1B9A}"/>
          </ac:spMkLst>
        </pc:spChg>
        <pc:spChg chg="add mod">
          <ac:chgData name="Andreas Weigl-Pollack" userId="976cfadb-7690-4050-b4fc-58625d8649b1" providerId="ADAL" clId="{88237A46-0CDE-4477-8A26-547BCE1C1E8F}" dt="2023-01-23T19:16:34.244" v="385" actId="1076"/>
          <ac:spMkLst>
            <pc:docMk/>
            <pc:sldMk cId="809093960" sldId="256"/>
            <ac:spMk id="53" creationId="{07F6F820-5F3E-6AAB-8A2B-229EEDB0874B}"/>
          </ac:spMkLst>
        </pc:spChg>
        <pc:spChg chg="add mod">
          <ac:chgData name="Andreas Weigl-Pollack" userId="976cfadb-7690-4050-b4fc-58625d8649b1" providerId="ADAL" clId="{88237A46-0CDE-4477-8A26-547BCE1C1E8F}" dt="2023-01-23T19:16:59.412" v="390" actId="1076"/>
          <ac:spMkLst>
            <pc:docMk/>
            <pc:sldMk cId="809093960" sldId="256"/>
            <ac:spMk id="54" creationId="{81FB4363-6554-48A8-9EDD-AB4E5DD8DE26}"/>
          </ac:spMkLst>
        </pc:spChg>
        <pc:spChg chg="add mod">
          <ac:chgData name="Andreas Weigl-Pollack" userId="976cfadb-7690-4050-b4fc-58625d8649b1" providerId="ADAL" clId="{88237A46-0CDE-4477-8A26-547BCE1C1E8F}" dt="2023-01-23T19:17:19.760" v="400" actId="1076"/>
          <ac:spMkLst>
            <pc:docMk/>
            <pc:sldMk cId="809093960" sldId="256"/>
            <ac:spMk id="55" creationId="{0B83B6BC-4563-7675-7F72-C2A46BC0107E}"/>
          </ac:spMkLst>
        </pc:spChg>
        <pc:spChg chg="add del mod">
          <ac:chgData name="Andreas Weigl-Pollack" userId="976cfadb-7690-4050-b4fc-58625d8649b1" providerId="ADAL" clId="{88237A46-0CDE-4477-8A26-547BCE1C1E8F}" dt="2023-01-23T19:22:07.693" v="419" actId="478"/>
          <ac:spMkLst>
            <pc:docMk/>
            <pc:sldMk cId="809093960" sldId="256"/>
            <ac:spMk id="61" creationId="{CEACE3EA-3DFA-7F3A-9CD9-6E301DAF3785}"/>
          </ac:spMkLst>
        </pc:spChg>
        <pc:spChg chg="add del mod">
          <ac:chgData name="Andreas Weigl-Pollack" userId="976cfadb-7690-4050-b4fc-58625d8649b1" providerId="ADAL" clId="{88237A46-0CDE-4477-8A26-547BCE1C1E8F}" dt="2023-01-23T19:22:09.288" v="420" actId="478"/>
          <ac:spMkLst>
            <pc:docMk/>
            <pc:sldMk cId="809093960" sldId="256"/>
            <ac:spMk id="62" creationId="{3665E8B8-3D65-3953-927F-24F07CCFF8DF}"/>
          </ac:spMkLst>
        </pc:spChg>
        <pc:graphicFrameChg chg="mod">
          <ac:chgData name="Andreas Weigl-Pollack" userId="976cfadb-7690-4050-b4fc-58625d8649b1" providerId="ADAL" clId="{88237A46-0CDE-4477-8A26-547BCE1C1E8F}" dt="2023-01-23T19:10:36.750" v="236"/>
          <ac:graphicFrameMkLst>
            <pc:docMk/>
            <pc:sldMk cId="809093960" sldId="256"/>
            <ac:graphicFrameMk id="4" creationId="{4528561C-E173-784D-C62A-639B46C2C231}"/>
          </ac:graphicFrameMkLst>
        </pc:graphicFrameChg>
        <pc:cxnChg chg="mod">
          <ac:chgData name="Andreas Weigl-Pollack" userId="976cfadb-7690-4050-b4fc-58625d8649b1" providerId="ADAL" clId="{88237A46-0CDE-4477-8A26-547BCE1C1E8F}" dt="2023-01-23T19:22:16.868" v="421" actId="1076"/>
          <ac:cxnSpMkLst>
            <pc:docMk/>
            <pc:sldMk cId="809093960" sldId="256"/>
            <ac:cxnSpMk id="11" creationId="{B38A514D-E009-E82F-659F-84E8541B4A2C}"/>
          </ac:cxnSpMkLst>
        </pc:cxnChg>
        <pc:cxnChg chg="mod">
          <ac:chgData name="Andreas Weigl-Pollack" userId="976cfadb-7690-4050-b4fc-58625d8649b1" providerId="ADAL" clId="{88237A46-0CDE-4477-8A26-547BCE1C1E8F}" dt="2023-01-23T19:18:05.896" v="405" actId="1076"/>
          <ac:cxnSpMkLst>
            <pc:docMk/>
            <pc:sldMk cId="809093960" sldId="256"/>
            <ac:cxnSpMk id="16" creationId="{326E9DB9-B74E-F96C-B3AA-45B8357C0B86}"/>
          </ac:cxnSpMkLst>
        </pc:cxnChg>
        <pc:cxnChg chg="add mod">
          <ac:chgData name="Andreas Weigl-Pollack" userId="976cfadb-7690-4050-b4fc-58625d8649b1" providerId="ADAL" clId="{88237A46-0CDE-4477-8A26-547BCE1C1E8F}" dt="2023-01-23T19:18:32.932" v="411" actId="1076"/>
          <ac:cxnSpMkLst>
            <pc:docMk/>
            <pc:sldMk cId="809093960" sldId="256"/>
            <ac:cxnSpMk id="20" creationId="{1F36429E-AB97-38CC-40D3-85F625A828FD}"/>
          </ac:cxnSpMkLst>
        </pc:cxnChg>
        <pc:cxnChg chg="add del mod">
          <ac:chgData name="Andreas Weigl-Pollack" userId="976cfadb-7690-4050-b4fc-58625d8649b1" providerId="ADAL" clId="{88237A46-0CDE-4477-8A26-547BCE1C1E8F}" dt="2023-01-23T19:17:41.306" v="403" actId="478"/>
          <ac:cxnSpMkLst>
            <pc:docMk/>
            <pc:sldMk cId="809093960" sldId="256"/>
            <ac:cxnSpMk id="21" creationId="{5F0B1205-5945-5D45-4D7F-CD3DDF26C4DE}"/>
          </ac:cxnSpMkLst>
        </pc:cxnChg>
        <pc:cxnChg chg="mod">
          <ac:chgData name="Andreas Weigl-Pollack" userId="976cfadb-7690-4050-b4fc-58625d8649b1" providerId="ADAL" clId="{88237A46-0CDE-4477-8A26-547BCE1C1E8F}" dt="2023-01-23T19:18:05.896" v="405" actId="1076"/>
          <ac:cxnSpMkLst>
            <pc:docMk/>
            <pc:sldMk cId="809093960" sldId="256"/>
            <ac:cxnSpMk id="25" creationId="{20541E77-2F01-3374-B15A-EF037B27403F}"/>
          </ac:cxnSpMkLst>
        </pc:cxnChg>
        <pc:cxnChg chg="add mod">
          <ac:chgData name="Andreas Weigl-Pollack" userId="976cfadb-7690-4050-b4fc-58625d8649b1" providerId="ADAL" clId="{88237A46-0CDE-4477-8A26-547BCE1C1E8F}" dt="2023-01-23T19:14:07.500" v="313" actId="14100"/>
          <ac:cxnSpMkLst>
            <pc:docMk/>
            <pc:sldMk cId="809093960" sldId="256"/>
            <ac:cxnSpMk id="27" creationId="{2FB7ADE5-7FED-94F9-EFCA-88FA4ECB7415}"/>
          </ac:cxnSpMkLst>
        </pc:cxnChg>
        <pc:cxnChg chg="mod">
          <ac:chgData name="Andreas Weigl-Pollack" userId="976cfadb-7690-4050-b4fc-58625d8649b1" providerId="ADAL" clId="{88237A46-0CDE-4477-8A26-547BCE1C1E8F}" dt="2023-01-23T19:10:21.061" v="192"/>
          <ac:cxnSpMkLst>
            <pc:docMk/>
            <pc:sldMk cId="809093960" sldId="256"/>
            <ac:cxnSpMk id="29" creationId="{E7F0B650-C86A-D388-9E04-5452AB8B3A88}"/>
          </ac:cxnSpMkLst>
        </pc:cxnChg>
        <pc:cxnChg chg="add mod">
          <ac:chgData name="Andreas Weigl-Pollack" userId="976cfadb-7690-4050-b4fc-58625d8649b1" providerId="ADAL" clId="{88237A46-0CDE-4477-8A26-547BCE1C1E8F}" dt="2023-01-23T19:15:19.882" v="348" actId="14100"/>
          <ac:cxnSpMkLst>
            <pc:docMk/>
            <pc:sldMk cId="809093960" sldId="256"/>
            <ac:cxnSpMk id="32" creationId="{30FCD136-13F1-689B-42F9-1C31777E90BF}"/>
          </ac:cxnSpMkLst>
        </pc:cxnChg>
        <pc:cxnChg chg="mod">
          <ac:chgData name="Andreas Weigl-Pollack" userId="976cfadb-7690-4050-b4fc-58625d8649b1" providerId="ADAL" clId="{88237A46-0CDE-4477-8A26-547BCE1C1E8F}" dt="2023-01-23T19:18:23.827" v="409" actId="1076"/>
          <ac:cxnSpMkLst>
            <pc:docMk/>
            <pc:sldMk cId="809093960" sldId="256"/>
            <ac:cxnSpMk id="34" creationId="{3E7E6258-AE47-DFA2-80B9-DFA7B0C6DD5A}"/>
          </ac:cxnSpMkLst>
        </pc:cxnChg>
        <pc:cxnChg chg="add mod">
          <ac:chgData name="Andreas Weigl-Pollack" userId="976cfadb-7690-4050-b4fc-58625d8649b1" providerId="ADAL" clId="{88237A46-0CDE-4477-8A26-547BCE1C1E8F}" dt="2023-01-23T19:16:13.252" v="377" actId="14100"/>
          <ac:cxnSpMkLst>
            <pc:docMk/>
            <pc:sldMk cId="809093960" sldId="256"/>
            <ac:cxnSpMk id="43" creationId="{EAA2BFD5-1B00-02C6-48E1-305A8BEEE214}"/>
          </ac:cxnSpMkLst>
        </pc:cxnChg>
        <pc:cxnChg chg="mod">
          <ac:chgData name="Andreas Weigl-Pollack" userId="976cfadb-7690-4050-b4fc-58625d8649b1" providerId="ADAL" clId="{88237A46-0CDE-4477-8A26-547BCE1C1E8F}" dt="2023-01-23T19:15:10.627" v="345" actId="1076"/>
          <ac:cxnSpMkLst>
            <pc:docMk/>
            <pc:sldMk cId="809093960" sldId="256"/>
            <ac:cxnSpMk id="49" creationId="{84259F6E-58A6-93BA-9A25-55F385D1570E}"/>
          </ac:cxnSpMkLst>
        </pc:cxnChg>
        <pc:cxnChg chg="del mod">
          <ac:chgData name="Andreas Weigl-Pollack" userId="976cfadb-7690-4050-b4fc-58625d8649b1" providerId="ADAL" clId="{88237A46-0CDE-4477-8A26-547BCE1C1E8F}" dt="2023-01-23T19:17:39.389" v="402" actId="478"/>
          <ac:cxnSpMkLst>
            <pc:docMk/>
            <pc:sldMk cId="809093960" sldId="256"/>
            <ac:cxnSpMk id="51" creationId="{0F70F0D2-4120-491A-AB3E-0F59A91E315E}"/>
          </ac:cxnSpMkLst>
        </pc:cxnChg>
      </pc:sldChg>
      <pc:sldMasterChg chg="modSp modSldLayout">
        <pc:chgData name="Andreas Weigl-Pollack" userId="976cfadb-7690-4050-b4fc-58625d8649b1" providerId="ADAL" clId="{88237A46-0CDE-4477-8A26-547BCE1C1E8F}" dt="2023-01-23T19:10:21.061" v="192"/>
        <pc:sldMasterMkLst>
          <pc:docMk/>
          <pc:sldMasterMk cId="129993504" sldId="2147483648"/>
        </pc:sldMasterMkLst>
        <pc:spChg chg="mod">
          <ac:chgData name="Andreas Weigl-Pollack" userId="976cfadb-7690-4050-b4fc-58625d8649b1" providerId="ADAL" clId="{88237A46-0CDE-4477-8A26-547BCE1C1E8F}" dt="2023-01-23T19:10:21.061" v="192"/>
          <ac:spMkLst>
            <pc:docMk/>
            <pc:sldMasterMk cId="129993504" sldId="2147483648"/>
            <ac:spMk id="2" creationId="{4FAE5F98-3150-2AC1-F6F7-E2A70ACED7DC}"/>
          </ac:spMkLst>
        </pc:spChg>
        <pc:spChg chg="mod">
          <ac:chgData name="Andreas Weigl-Pollack" userId="976cfadb-7690-4050-b4fc-58625d8649b1" providerId="ADAL" clId="{88237A46-0CDE-4477-8A26-547BCE1C1E8F}" dt="2023-01-23T19:10:21.061" v="192"/>
          <ac:spMkLst>
            <pc:docMk/>
            <pc:sldMasterMk cId="129993504" sldId="2147483648"/>
            <ac:spMk id="3" creationId="{5A1BC22C-72BD-E73F-3100-618A70CF9BD4}"/>
          </ac:spMkLst>
        </pc:spChg>
        <pc:spChg chg="mod">
          <ac:chgData name="Andreas Weigl-Pollack" userId="976cfadb-7690-4050-b4fc-58625d8649b1" providerId="ADAL" clId="{88237A46-0CDE-4477-8A26-547BCE1C1E8F}" dt="2023-01-23T19:10:21.061" v="192"/>
          <ac:spMkLst>
            <pc:docMk/>
            <pc:sldMasterMk cId="129993504" sldId="2147483648"/>
            <ac:spMk id="4" creationId="{46E4CF3F-E5F0-E360-1B08-A3F1A7362424}"/>
          </ac:spMkLst>
        </pc:spChg>
        <pc:spChg chg="mod">
          <ac:chgData name="Andreas Weigl-Pollack" userId="976cfadb-7690-4050-b4fc-58625d8649b1" providerId="ADAL" clId="{88237A46-0CDE-4477-8A26-547BCE1C1E8F}" dt="2023-01-23T19:10:21.061" v="192"/>
          <ac:spMkLst>
            <pc:docMk/>
            <pc:sldMasterMk cId="129993504" sldId="2147483648"/>
            <ac:spMk id="5" creationId="{F1FFA360-0E3E-1EBA-57DE-CF7D9363EF83}"/>
          </ac:spMkLst>
        </pc:spChg>
        <pc:spChg chg="mod">
          <ac:chgData name="Andreas Weigl-Pollack" userId="976cfadb-7690-4050-b4fc-58625d8649b1" providerId="ADAL" clId="{88237A46-0CDE-4477-8A26-547BCE1C1E8F}" dt="2023-01-23T19:10:21.061" v="192"/>
          <ac:spMkLst>
            <pc:docMk/>
            <pc:sldMasterMk cId="129993504" sldId="2147483648"/>
            <ac:spMk id="6" creationId="{12430CB0-6A44-3AC2-ABAC-071784526D09}"/>
          </ac:spMkLst>
        </pc:spChg>
        <pc:graphicFrameChg chg="mod">
          <ac:chgData name="Andreas Weigl-Pollack" userId="976cfadb-7690-4050-b4fc-58625d8649b1" providerId="ADAL" clId="{88237A46-0CDE-4477-8A26-547BCE1C1E8F}" dt="2023-01-23T19:10:21.061" v="192"/>
          <ac:graphicFrameMkLst>
            <pc:docMk/>
            <pc:sldMasterMk cId="129993504" sldId="2147483648"/>
            <ac:graphicFrameMk id="8" creationId="{497BFF5B-F212-8D5D-0695-D39568E97573}"/>
          </ac:graphicFrameMkLst>
        </pc:graphicFrameChg>
        <pc:sldLayoutChg chg="modSp">
          <pc:chgData name="Andreas Weigl-Pollack" userId="976cfadb-7690-4050-b4fc-58625d8649b1" providerId="ADAL" clId="{88237A46-0CDE-4477-8A26-547BCE1C1E8F}" dt="2023-01-23T19:10:21.061" v="192"/>
          <pc:sldLayoutMkLst>
            <pc:docMk/>
            <pc:sldMasterMk cId="129993504" sldId="2147483648"/>
            <pc:sldLayoutMk cId="3143792007" sldId="2147483649"/>
          </pc:sldLayoutMkLst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3143792007" sldId="2147483649"/>
              <ac:spMk id="2" creationId="{048E2BEA-59F9-8C83-8EC9-B1EE171FCCE3}"/>
            </ac:spMkLst>
          </pc:spChg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3143792007" sldId="2147483649"/>
              <ac:spMk id="3" creationId="{F7799EA2-DD82-19A2-E3FF-2BE574B4A9B3}"/>
            </ac:spMkLst>
          </pc:spChg>
        </pc:sldLayoutChg>
        <pc:sldLayoutChg chg="modSp">
          <pc:chgData name="Andreas Weigl-Pollack" userId="976cfadb-7690-4050-b4fc-58625d8649b1" providerId="ADAL" clId="{88237A46-0CDE-4477-8A26-547BCE1C1E8F}" dt="2023-01-23T19:10:21.061" v="192"/>
          <pc:sldLayoutMkLst>
            <pc:docMk/>
            <pc:sldMasterMk cId="129993504" sldId="2147483648"/>
            <pc:sldLayoutMk cId="2857427929" sldId="2147483651"/>
          </pc:sldLayoutMkLst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2857427929" sldId="2147483651"/>
              <ac:spMk id="2" creationId="{19C9E1E9-28EB-6E3C-3926-7411E6AE0AAC}"/>
            </ac:spMkLst>
          </pc:spChg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2857427929" sldId="2147483651"/>
              <ac:spMk id="3" creationId="{8005DFEB-F5A0-400C-2ADE-A2BB85008D19}"/>
            </ac:spMkLst>
          </pc:spChg>
        </pc:sldLayoutChg>
        <pc:sldLayoutChg chg="modSp">
          <pc:chgData name="Andreas Weigl-Pollack" userId="976cfadb-7690-4050-b4fc-58625d8649b1" providerId="ADAL" clId="{88237A46-0CDE-4477-8A26-547BCE1C1E8F}" dt="2023-01-23T19:10:21.061" v="192"/>
          <pc:sldLayoutMkLst>
            <pc:docMk/>
            <pc:sldMasterMk cId="129993504" sldId="2147483648"/>
            <pc:sldLayoutMk cId="1572590174" sldId="2147483652"/>
          </pc:sldLayoutMkLst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1572590174" sldId="2147483652"/>
              <ac:spMk id="3" creationId="{89B6EE1E-FF41-C0F1-2236-467CA76A62FC}"/>
            </ac:spMkLst>
          </pc:spChg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1572590174" sldId="2147483652"/>
              <ac:spMk id="4" creationId="{FD5AB6C4-88F2-0667-1856-031B4E291C4B}"/>
            </ac:spMkLst>
          </pc:spChg>
        </pc:sldLayoutChg>
        <pc:sldLayoutChg chg="modSp">
          <pc:chgData name="Andreas Weigl-Pollack" userId="976cfadb-7690-4050-b4fc-58625d8649b1" providerId="ADAL" clId="{88237A46-0CDE-4477-8A26-547BCE1C1E8F}" dt="2023-01-23T19:10:21.061" v="192"/>
          <pc:sldLayoutMkLst>
            <pc:docMk/>
            <pc:sldMasterMk cId="129993504" sldId="2147483648"/>
            <pc:sldLayoutMk cId="1770253558" sldId="2147483653"/>
          </pc:sldLayoutMkLst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1770253558" sldId="2147483653"/>
              <ac:spMk id="2" creationId="{3FA7B51A-6B15-6205-ADEC-4AEC9325753A}"/>
            </ac:spMkLst>
          </pc:spChg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1770253558" sldId="2147483653"/>
              <ac:spMk id="3" creationId="{6F19C03B-95A2-1456-57DD-C691F73FA737}"/>
            </ac:spMkLst>
          </pc:spChg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1770253558" sldId="2147483653"/>
              <ac:spMk id="4" creationId="{9783DBFE-E616-0C7B-86BD-D5D09D29416F}"/>
            </ac:spMkLst>
          </pc:spChg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1770253558" sldId="2147483653"/>
              <ac:spMk id="5" creationId="{9069CD4E-3A96-1473-DBB7-90FBDBE45A6E}"/>
            </ac:spMkLst>
          </pc:spChg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1770253558" sldId="2147483653"/>
              <ac:spMk id="6" creationId="{919A4A12-FC02-CB2D-4060-C30457886D99}"/>
            </ac:spMkLst>
          </pc:spChg>
        </pc:sldLayoutChg>
        <pc:sldLayoutChg chg="modSp">
          <pc:chgData name="Andreas Weigl-Pollack" userId="976cfadb-7690-4050-b4fc-58625d8649b1" providerId="ADAL" clId="{88237A46-0CDE-4477-8A26-547BCE1C1E8F}" dt="2023-01-23T19:10:21.061" v="192"/>
          <pc:sldLayoutMkLst>
            <pc:docMk/>
            <pc:sldMasterMk cId="129993504" sldId="2147483648"/>
            <pc:sldLayoutMk cId="3370893958" sldId="2147483656"/>
          </pc:sldLayoutMkLst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3370893958" sldId="2147483656"/>
              <ac:spMk id="2" creationId="{380FCA75-2345-3407-8F50-C4AD9E025BF5}"/>
            </ac:spMkLst>
          </pc:spChg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3370893958" sldId="2147483656"/>
              <ac:spMk id="3" creationId="{154036B9-160A-E18D-019A-183E1474FACD}"/>
            </ac:spMkLst>
          </pc:spChg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3370893958" sldId="2147483656"/>
              <ac:spMk id="4" creationId="{9C2B9D90-681A-2BAC-2AE1-B539F0A3061F}"/>
            </ac:spMkLst>
          </pc:spChg>
        </pc:sldLayoutChg>
        <pc:sldLayoutChg chg="modSp">
          <pc:chgData name="Andreas Weigl-Pollack" userId="976cfadb-7690-4050-b4fc-58625d8649b1" providerId="ADAL" clId="{88237A46-0CDE-4477-8A26-547BCE1C1E8F}" dt="2023-01-23T19:10:21.061" v="192"/>
          <pc:sldLayoutMkLst>
            <pc:docMk/>
            <pc:sldMasterMk cId="129993504" sldId="2147483648"/>
            <pc:sldLayoutMk cId="1233908104" sldId="2147483657"/>
          </pc:sldLayoutMkLst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1233908104" sldId="2147483657"/>
              <ac:spMk id="2" creationId="{6C9C4F28-097D-9E99-F102-DB8DB9B661C2}"/>
            </ac:spMkLst>
          </pc:spChg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1233908104" sldId="2147483657"/>
              <ac:spMk id="3" creationId="{9A9B76B2-51DC-9C15-8D04-866E912E7F73}"/>
            </ac:spMkLst>
          </pc:spChg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1233908104" sldId="2147483657"/>
              <ac:spMk id="4" creationId="{D9714865-C96F-B424-4EC2-4B23E0ACE35B}"/>
            </ac:spMkLst>
          </pc:spChg>
        </pc:sldLayoutChg>
        <pc:sldLayoutChg chg="modSp">
          <pc:chgData name="Andreas Weigl-Pollack" userId="976cfadb-7690-4050-b4fc-58625d8649b1" providerId="ADAL" clId="{88237A46-0CDE-4477-8A26-547BCE1C1E8F}" dt="2023-01-23T19:10:21.061" v="192"/>
          <pc:sldLayoutMkLst>
            <pc:docMk/>
            <pc:sldMasterMk cId="129993504" sldId="2147483648"/>
            <pc:sldLayoutMk cId="1098371915" sldId="2147483659"/>
          </pc:sldLayoutMkLst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1098371915" sldId="2147483659"/>
              <ac:spMk id="2" creationId="{C0E356BE-FA2F-D6DD-E8B7-876ED6A5BE54}"/>
            </ac:spMkLst>
          </pc:spChg>
          <pc:spChg chg="mod">
            <ac:chgData name="Andreas Weigl-Pollack" userId="976cfadb-7690-4050-b4fc-58625d8649b1" providerId="ADAL" clId="{88237A46-0CDE-4477-8A26-547BCE1C1E8F}" dt="2023-01-23T19:10:21.061" v="192"/>
            <ac:spMkLst>
              <pc:docMk/>
              <pc:sldMasterMk cId="129993504" sldId="2147483648"/>
              <pc:sldLayoutMk cId="1098371915" sldId="2147483659"/>
              <ac:spMk id="3" creationId="{068E0457-CD0E-6220-61F2-47B5EB0EFEEB}"/>
            </ac:spMkLst>
          </pc:spChg>
        </pc:sldLayoutChg>
      </pc:sldMasterChg>
      <pc:sldMasterChg chg="addSp delSp modSp mod">
        <pc:chgData name="Andreas Weigl-Pollack" userId="976cfadb-7690-4050-b4fc-58625d8649b1" providerId="ADAL" clId="{88237A46-0CDE-4477-8A26-547BCE1C1E8F}" dt="2023-01-23T19:10:36.761" v="240"/>
        <pc:sldMasterMkLst>
          <pc:docMk/>
          <pc:sldMasterMk cId="1101635524" sldId="2147483660"/>
        </pc:sldMasterMkLst>
        <pc:spChg chg="mod">
          <ac:chgData name="Andreas Weigl-Pollack" userId="976cfadb-7690-4050-b4fc-58625d8649b1" providerId="ADAL" clId="{88237A46-0CDE-4477-8A26-547BCE1C1E8F}" dt="2023-01-23T19:10:36.535" v="195" actId="948"/>
          <ac:spMkLst>
            <pc:docMk/>
            <pc:sldMasterMk cId="1101635524" sldId="2147483660"/>
            <ac:spMk id="2" creationId="{00000000-0000-0000-0000-000000000000}"/>
          </ac:spMkLst>
        </pc:spChg>
        <pc:spChg chg="add del mod modVis">
          <ac:chgData name="Andreas Weigl-Pollack" userId="976cfadb-7690-4050-b4fc-58625d8649b1" providerId="ADAL" clId="{88237A46-0CDE-4477-8A26-547BCE1C1E8F}" dt="2023-01-23T19:10:36.752" v="238"/>
          <ac:spMkLst>
            <pc:docMk/>
            <pc:sldMasterMk cId="1101635524" sldId="2147483660"/>
            <ac:spMk id="8" creationId="{7674CB71-091B-FA7F-3375-AD825724F637}"/>
          </ac:spMkLst>
        </pc:spChg>
        <pc:graphicFrameChg chg="mod">
          <ac:chgData name="Andreas Weigl-Pollack" userId="976cfadb-7690-4050-b4fc-58625d8649b1" providerId="ADAL" clId="{88237A46-0CDE-4477-8A26-547BCE1C1E8F}" dt="2023-01-23T19:10:36.761" v="240"/>
          <ac:graphicFrameMkLst>
            <pc:docMk/>
            <pc:sldMasterMk cId="1101635524" sldId="2147483660"/>
            <ac:graphicFrameMk id="7" creationId="{847DEA04-5B2B-27CC-752A-15D2139E79BC}"/>
          </ac:graphicFrameMkLst>
        </pc:graphicFrameChg>
      </pc:sldMasterChg>
      <pc:sldMasterChg chg="addSp delSp modSp mod modSldLayout">
        <pc:chgData name="Andreas Weigl-Pollack" userId="976cfadb-7690-4050-b4fc-58625d8649b1" providerId="ADAL" clId="{88237A46-0CDE-4477-8A26-547BCE1C1E8F}" dt="2023-01-23T19:10:21.061" v="192"/>
        <pc:sldMasterMkLst>
          <pc:docMk/>
          <pc:sldMasterMk cId="2298253511" sldId="2147483660"/>
        </pc:sldMasterMkLst>
        <pc:spChg chg="mod">
          <ac:chgData name="Andreas Weigl-Pollack" userId="976cfadb-7690-4050-b4fc-58625d8649b1" providerId="ADAL" clId="{88237A46-0CDE-4477-8A26-547BCE1C1E8F}" dt="2023-01-23T19:10:21.061" v="192"/>
          <ac:spMkLst>
            <pc:docMk/>
            <pc:sldMasterMk cId="2298253511" sldId="2147483660"/>
            <ac:spMk id="2" creationId="{00000000-0000-0000-0000-000000000000}"/>
          </ac:spMkLst>
        </pc:spChg>
        <pc:spChg chg="mod">
          <ac:chgData name="Andreas Weigl-Pollack" userId="976cfadb-7690-4050-b4fc-58625d8649b1" providerId="ADAL" clId="{88237A46-0CDE-4477-8A26-547BCE1C1E8F}" dt="2023-01-23T19:10:19.903" v="144"/>
          <ac:spMkLst>
            <pc:docMk/>
            <pc:sldMasterMk cId="2298253511" sldId="2147483660"/>
            <ac:spMk id="3" creationId="{00000000-0000-0000-0000-000000000000}"/>
          </ac:spMkLst>
        </pc:spChg>
        <pc:spChg chg="mod">
          <ac:chgData name="Andreas Weigl-Pollack" userId="976cfadb-7690-4050-b4fc-58625d8649b1" providerId="ADAL" clId="{88237A46-0CDE-4477-8A26-547BCE1C1E8F}" dt="2023-01-23T19:10:19.903" v="144"/>
          <ac:spMkLst>
            <pc:docMk/>
            <pc:sldMasterMk cId="2298253511" sldId="2147483660"/>
            <ac:spMk id="4" creationId="{00000000-0000-0000-0000-000000000000}"/>
          </ac:spMkLst>
        </pc:spChg>
        <pc:spChg chg="mod">
          <ac:chgData name="Andreas Weigl-Pollack" userId="976cfadb-7690-4050-b4fc-58625d8649b1" providerId="ADAL" clId="{88237A46-0CDE-4477-8A26-547BCE1C1E8F}" dt="2023-01-23T19:10:19.903" v="144"/>
          <ac:spMkLst>
            <pc:docMk/>
            <pc:sldMasterMk cId="2298253511" sldId="2147483660"/>
            <ac:spMk id="5" creationId="{00000000-0000-0000-0000-000000000000}"/>
          </ac:spMkLst>
        </pc:spChg>
        <pc:spChg chg="mod">
          <ac:chgData name="Andreas Weigl-Pollack" userId="976cfadb-7690-4050-b4fc-58625d8649b1" providerId="ADAL" clId="{88237A46-0CDE-4477-8A26-547BCE1C1E8F}" dt="2023-01-23T19:10:19.903" v="144"/>
          <ac:spMkLst>
            <pc:docMk/>
            <pc:sldMasterMk cId="2298253511" sldId="2147483660"/>
            <ac:spMk id="6" creationId="{00000000-0000-0000-0000-000000000000}"/>
          </ac:spMkLst>
        </pc:spChg>
        <pc:spChg chg="add del mod modVis">
          <ac:chgData name="Andreas Weigl-Pollack" userId="976cfadb-7690-4050-b4fc-58625d8649b1" providerId="ADAL" clId="{88237A46-0CDE-4477-8A26-547BCE1C1E8F}" dt="2023-01-23T19:10:21.061" v="192"/>
          <ac:spMkLst>
            <pc:docMk/>
            <pc:sldMasterMk cId="2298253511" sldId="2147483660"/>
            <ac:spMk id="8" creationId="{31B873C9-7AFC-4D7D-AAAD-BE115B387BA1}"/>
          </ac:spMkLst>
        </pc:spChg>
        <pc:graphicFrameChg chg="mod">
          <ac:chgData name="Andreas Weigl-Pollack" userId="976cfadb-7690-4050-b4fc-58625d8649b1" providerId="ADAL" clId="{88237A46-0CDE-4477-8A26-547BCE1C1E8F}" dt="2023-01-23T19:10:21.061" v="192"/>
          <ac:graphicFrameMkLst>
            <pc:docMk/>
            <pc:sldMasterMk cId="2298253511" sldId="2147483660"/>
            <ac:graphicFrameMk id="7" creationId="{A3E987ED-8BF4-5952-278F-22A1F39E8AC2}"/>
          </ac:graphicFrameMkLst>
        </pc:graphicFrameChg>
        <pc:sldLayoutChg chg="modSp">
          <pc:chgData name="Andreas Weigl-Pollack" userId="976cfadb-7690-4050-b4fc-58625d8649b1" providerId="ADAL" clId="{88237A46-0CDE-4477-8A26-547BCE1C1E8F}" dt="2023-01-23T19:10:19.903" v="144"/>
          <pc:sldLayoutMkLst>
            <pc:docMk/>
            <pc:sldMasterMk cId="2298253511" sldId="2147483660"/>
            <pc:sldLayoutMk cId="2440945464" sldId="2147483661"/>
          </pc:sldLayoutMkLst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2440945464" sldId="2147483661"/>
              <ac:spMk id="2" creationId="{00000000-0000-0000-0000-000000000000}"/>
            </ac:spMkLst>
          </pc:spChg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2440945464" sldId="2147483661"/>
              <ac:spMk id="3" creationId="{00000000-0000-0000-0000-000000000000}"/>
            </ac:spMkLst>
          </pc:spChg>
        </pc:sldLayoutChg>
        <pc:sldLayoutChg chg="modSp">
          <pc:chgData name="Andreas Weigl-Pollack" userId="976cfadb-7690-4050-b4fc-58625d8649b1" providerId="ADAL" clId="{88237A46-0CDE-4477-8A26-547BCE1C1E8F}" dt="2023-01-23T19:10:19.903" v="144"/>
          <pc:sldLayoutMkLst>
            <pc:docMk/>
            <pc:sldMasterMk cId="2298253511" sldId="2147483660"/>
            <pc:sldLayoutMk cId="2040069607" sldId="2147483663"/>
          </pc:sldLayoutMkLst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2040069607" sldId="2147483663"/>
              <ac:spMk id="2" creationId="{00000000-0000-0000-0000-000000000000}"/>
            </ac:spMkLst>
          </pc:spChg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2040069607" sldId="2147483663"/>
              <ac:spMk id="3" creationId="{00000000-0000-0000-0000-000000000000}"/>
            </ac:spMkLst>
          </pc:spChg>
        </pc:sldLayoutChg>
        <pc:sldLayoutChg chg="modSp">
          <pc:chgData name="Andreas Weigl-Pollack" userId="976cfadb-7690-4050-b4fc-58625d8649b1" providerId="ADAL" clId="{88237A46-0CDE-4477-8A26-547BCE1C1E8F}" dt="2023-01-23T19:10:19.903" v="144"/>
          <pc:sldLayoutMkLst>
            <pc:docMk/>
            <pc:sldMasterMk cId="2298253511" sldId="2147483660"/>
            <pc:sldLayoutMk cId="2920673176" sldId="2147483664"/>
          </pc:sldLayoutMkLst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2920673176" sldId="2147483664"/>
              <ac:spMk id="3" creationId="{00000000-0000-0000-0000-000000000000}"/>
            </ac:spMkLst>
          </pc:spChg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2920673176" sldId="2147483664"/>
              <ac:spMk id="4" creationId="{00000000-0000-0000-0000-000000000000}"/>
            </ac:spMkLst>
          </pc:spChg>
        </pc:sldLayoutChg>
        <pc:sldLayoutChg chg="modSp">
          <pc:chgData name="Andreas Weigl-Pollack" userId="976cfadb-7690-4050-b4fc-58625d8649b1" providerId="ADAL" clId="{88237A46-0CDE-4477-8A26-547BCE1C1E8F}" dt="2023-01-23T19:10:19.903" v="144"/>
          <pc:sldLayoutMkLst>
            <pc:docMk/>
            <pc:sldMasterMk cId="2298253511" sldId="2147483660"/>
            <pc:sldLayoutMk cId="2073652799" sldId="2147483665"/>
          </pc:sldLayoutMkLst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2073652799" sldId="2147483665"/>
              <ac:spMk id="2" creationId="{00000000-0000-0000-0000-000000000000}"/>
            </ac:spMkLst>
          </pc:spChg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2073652799" sldId="2147483665"/>
              <ac:spMk id="3" creationId="{00000000-0000-0000-0000-000000000000}"/>
            </ac:spMkLst>
          </pc:spChg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2073652799" sldId="2147483665"/>
              <ac:spMk id="4" creationId="{00000000-0000-0000-0000-000000000000}"/>
            </ac:spMkLst>
          </pc:spChg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2073652799" sldId="2147483665"/>
              <ac:spMk id="5" creationId="{00000000-0000-0000-0000-000000000000}"/>
            </ac:spMkLst>
          </pc:spChg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2073652799" sldId="2147483665"/>
              <ac:spMk id="6" creationId="{00000000-0000-0000-0000-000000000000}"/>
            </ac:spMkLst>
          </pc:spChg>
        </pc:sldLayoutChg>
        <pc:sldLayoutChg chg="modSp">
          <pc:chgData name="Andreas Weigl-Pollack" userId="976cfadb-7690-4050-b4fc-58625d8649b1" providerId="ADAL" clId="{88237A46-0CDE-4477-8A26-547BCE1C1E8F}" dt="2023-01-23T19:10:19.903" v="144"/>
          <pc:sldLayoutMkLst>
            <pc:docMk/>
            <pc:sldMasterMk cId="2298253511" sldId="2147483660"/>
            <pc:sldLayoutMk cId="2618604027" sldId="2147483668"/>
          </pc:sldLayoutMkLst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2618604027" sldId="2147483668"/>
              <ac:spMk id="2" creationId="{00000000-0000-0000-0000-000000000000}"/>
            </ac:spMkLst>
          </pc:spChg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2618604027" sldId="2147483668"/>
              <ac:spMk id="3" creationId="{00000000-0000-0000-0000-000000000000}"/>
            </ac:spMkLst>
          </pc:spChg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2618604027" sldId="2147483668"/>
              <ac:spMk id="4" creationId="{00000000-0000-0000-0000-000000000000}"/>
            </ac:spMkLst>
          </pc:spChg>
        </pc:sldLayoutChg>
        <pc:sldLayoutChg chg="modSp">
          <pc:chgData name="Andreas Weigl-Pollack" userId="976cfadb-7690-4050-b4fc-58625d8649b1" providerId="ADAL" clId="{88237A46-0CDE-4477-8A26-547BCE1C1E8F}" dt="2023-01-23T19:10:19.903" v="144"/>
          <pc:sldLayoutMkLst>
            <pc:docMk/>
            <pc:sldMasterMk cId="2298253511" sldId="2147483660"/>
            <pc:sldLayoutMk cId="974366513" sldId="2147483669"/>
          </pc:sldLayoutMkLst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974366513" sldId="2147483669"/>
              <ac:spMk id="2" creationId="{00000000-0000-0000-0000-000000000000}"/>
            </ac:spMkLst>
          </pc:spChg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974366513" sldId="2147483669"/>
              <ac:spMk id="3" creationId="{00000000-0000-0000-0000-000000000000}"/>
            </ac:spMkLst>
          </pc:spChg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974366513" sldId="2147483669"/>
              <ac:spMk id="4" creationId="{00000000-0000-0000-0000-000000000000}"/>
            </ac:spMkLst>
          </pc:spChg>
        </pc:sldLayoutChg>
        <pc:sldLayoutChg chg="modSp">
          <pc:chgData name="Andreas Weigl-Pollack" userId="976cfadb-7690-4050-b4fc-58625d8649b1" providerId="ADAL" clId="{88237A46-0CDE-4477-8A26-547BCE1C1E8F}" dt="2023-01-23T19:10:19.903" v="144"/>
          <pc:sldLayoutMkLst>
            <pc:docMk/>
            <pc:sldMasterMk cId="2298253511" sldId="2147483660"/>
            <pc:sldLayoutMk cId="1720225299" sldId="2147483671"/>
          </pc:sldLayoutMkLst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1720225299" sldId="2147483671"/>
              <ac:spMk id="2" creationId="{00000000-0000-0000-0000-000000000000}"/>
            </ac:spMkLst>
          </pc:spChg>
          <pc:spChg chg="mod">
            <ac:chgData name="Andreas Weigl-Pollack" userId="976cfadb-7690-4050-b4fc-58625d8649b1" providerId="ADAL" clId="{88237A46-0CDE-4477-8A26-547BCE1C1E8F}" dt="2023-01-23T19:10:19.903" v="144"/>
            <ac:spMkLst>
              <pc:docMk/>
              <pc:sldMasterMk cId="2298253511" sldId="2147483660"/>
              <pc:sldLayoutMk cId="1720225299" sldId="2147483671"/>
              <ac:spMk id="3" creationId="{00000000-0000-0000-0000-000000000000}"/>
            </ac:spMkLst>
          </pc:spChg>
        </pc:sldLayoutChg>
      </pc:sldMasterChg>
      <pc:sldMasterChg chg="addSp delSp modSp mod">
        <pc:chgData name="Andreas Weigl-Pollack" userId="976cfadb-7690-4050-b4fc-58625d8649b1" providerId="ADAL" clId="{88237A46-0CDE-4477-8A26-547BCE1C1E8F}" dt="2023-01-23T19:10:19.903" v="144"/>
        <pc:sldMasterMkLst>
          <pc:docMk/>
          <pc:sldMasterMk cId="2833624336" sldId="2147483672"/>
        </pc:sldMasterMkLst>
        <pc:spChg chg="mod">
          <ac:chgData name="Andreas Weigl-Pollack" userId="976cfadb-7690-4050-b4fc-58625d8649b1" providerId="ADAL" clId="{88237A46-0CDE-4477-8A26-547BCE1C1E8F}" dt="2023-01-23T19:10:19.903" v="144"/>
          <ac:spMkLst>
            <pc:docMk/>
            <pc:sldMasterMk cId="2833624336" sldId="2147483672"/>
            <ac:spMk id="2" creationId="{00000000-0000-0000-0000-000000000000}"/>
          </ac:spMkLst>
        </pc:spChg>
        <pc:spChg chg="add del mod modVis">
          <ac:chgData name="Andreas Weigl-Pollack" userId="976cfadb-7690-4050-b4fc-58625d8649b1" providerId="ADAL" clId="{88237A46-0CDE-4477-8A26-547BCE1C1E8F}" dt="2023-01-23T19:10:19.903" v="144"/>
          <ac:spMkLst>
            <pc:docMk/>
            <pc:sldMasterMk cId="2833624336" sldId="2147483672"/>
            <ac:spMk id="8" creationId="{79B5C34B-2F17-6C0D-D257-AAB26058FA56}"/>
          </ac:spMkLst>
        </pc:spChg>
        <pc:graphicFrameChg chg="mod">
          <ac:chgData name="Andreas Weigl-Pollack" userId="976cfadb-7690-4050-b4fc-58625d8649b1" providerId="ADAL" clId="{88237A46-0CDE-4477-8A26-547BCE1C1E8F}" dt="2023-01-23T19:10:19.903" v="144"/>
          <ac:graphicFrameMkLst>
            <pc:docMk/>
            <pc:sldMasterMk cId="2833624336" sldId="2147483672"/>
            <ac:graphicFrameMk id="7" creationId="{2FA286E2-DC64-1C8D-C48B-BAD215381F89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995312"/>
            <a:ext cx="5829300" cy="4244622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6403623"/>
            <a:ext cx="5143500" cy="2943577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23.01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18528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23.01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02556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649111"/>
            <a:ext cx="1478756" cy="1033215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649111"/>
            <a:ext cx="4350544" cy="1033215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23.01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73464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23.01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10240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3039537"/>
            <a:ext cx="5915025" cy="5071532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8159048"/>
            <a:ext cx="5915025" cy="266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23.01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62504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3245556"/>
            <a:ext cx="2914650" cy="7735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3245556"/>
            <a:ext cx="2914650" cy="7735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23.01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4704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49114"/>
            <a:ext cx="5915025" cy="23565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988734"/>
            <a:ext cx="2901255" cy="146473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4453467"/>
            <a:ext cx="2901255" cy="6550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988734"/>
            <a:ext cx="2915543" cy="146473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4453467"/>
            <a:ext cx="2915543" cy="6550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23.01.2023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1127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23.01.2023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75225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23.01.2023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32507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812800"/>
            <a:ext cx="2211884" cy="28448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755425"/>
            <a:ext cx="3471863" cy="8664222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3657600"/>
            <a:ext cx="2211884" cy="6776156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23.01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64696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812800"/>
            <a:ext cx="2211884" cy="28448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755425"/>
            <a:ext cx="3471863" cy="8664222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3657600"/>
            <a:ext cx="2211884" cy="6776156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7D3BB-03F0-482C-9432-368A42D3C827}" type="datetimeFigureOut">
              <a:rPr lang="de-DE" smtClean="0"/>
              <a:t>23.01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1329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649114"/>
            <a:ext cx="5915025" cy="23565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3245556"/>
            <a:ext cx="5915025" cy="77357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11300181"/>
            <a:ext cx="154305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E7D3BB-03F0-482C-9432-368A42D3C827}" type="datetimeFigureOut">
              <a:rPr lang="de-DE" smtClean="0"/>
              <a:t>23.01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11300181"/>
            <a:ext cx="2314575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11300181"/>
            <a:ext cx="154305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41A9FE-A833-4618-BC05-644D31A09D64}" type="slidenum">
              <a:rPr lang="de-DE" smtClean="0"/>
              <a:t>‹#›</a:t>
            </a:fld>
            <a:endParaRPr lang="de-DE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47DEA04-5B2B-27CC-752A-15D2139E79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48187746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0" imgH="380" progId="TCLayout.ActiveDocument.1">
                  <p:embed/>
                </p:oleObj>
              </mc:Choice>
              <mc:Fallback>
                <p:oleObj name="think-cell Slide" r:id="rId14" imgW="380" imgH="38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47DEA04-5B2B-27CC-752A-15D2139E79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01635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28561C-E173-784D-C62A-639B46C2C2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3536538"/>
              </p:ext>
            </p:extLst>
          </p:nvPr>
        </p:nvGraphicFramePr>
        <p:xfrm>
          <a:off x="893" y="4168081"/>
          <a:ext cx="893" cy="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0" imgH="380" progId="TCLayout.ActiveDocument.1">
                  <p:embed/>
                </p:oleObj>
              </mc:Choice>
              <mc:Fallback>
                <p:oleObj name="think-cell Slide" r:id="rId3" imgW="380" imgH="38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28561C-E173-784D-C62A-639B46C2C2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4168081"/>
                        <a:ext cx="893" cy="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82CB452D-CB1D-2866-4F1D-670AE21AE0DF}"/>
              </a:ext>
            </a:extLst>
          </p:cNvPr>
          <p:cNvSpPr/>
          <p:nvPr/>
        </p:nvSpPr>
        <p:spPr>
          <a:xfrm>
            <a:off x="2216868" y="5147342"/>
            <a:ext cx="3074379" cy="75785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619" dirty="0"/>
              <a:t>Docker Image</a:t>
            </a:r>
          </a:p>
          <a:p>
            <a:pPr algn="ctr"/>
            <a:endParaRPr lang="de-DE" sz="619" dirty="0"/>
          </a:p>
          <a:p>
            <a:pPr algn="ctr"/>
            <a:endParaRPr lang="de-DE" sz="619" dirty="0"/>
          </a:p>
          <a:p>
            <a:pPr algn="ctr"/>
            <a:endParaRPr lang="de-DE" sz="619" dirty="0"/>
          </a:p>
          <a:p>
            <a:pPr algn="ctr"/>
            <a:endParaRPr lang="de-DE" sz="619" dirty="0"/>
          </a:p>
          <a:p>
            <a:pPr algn="ctr"/>
            <a:endParaRPr lang="de-DE" sz="619" dirty="0"/>
          </a:p>
          <a:p>
            <a:pPr algn="ctr"/>
            <a:endParaRPr lang="de-DE" sz="619" dirty="0"/>
          </a:p>
          <a:p>
            <a:pPr algn="ctr"/>
            <a:endParaRPr lang="de-DE" sz="619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B62A49E-57C8-A561-8187-E8226DAF09F0}"/>
              </a:ext>
            </a:extLst>
          </p:cNvPr>
          <p:cNvSpPr/>
          <p:nvPr/>
        </p:nvSpPr>
        <p:spPr>
          <a:xfrm>
            <a:off x="3447059" y="4274878"/>
            <a:ext cx="753874" cy="5291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19" dirty="0" err="1"/>
              <a:t>Huggingface</a:t>
            </a:r>
            <a:endParaRPr lang="de-DE" sz="619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317B453-0A14-B189-1DF9-462D9D7DEB85}"/>
              </a:ext>
            </a:extLst>
          </p:cNvPr>
          <p:cNvSpPr/>
          <p:nvPr/>
        </p:nvSpPr>
        <p:spPr>
          <a:xfrm>
            <a:off x="3447059" y="5288570"/>
            <a:ext cx="753874" cy="5291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19" dirty="0"/>
              <a:t>(</a:t>
            </a:r>
            <a:r>
              <a:rPr lang="de-DE" sz="619" dirty="0" err="1"/>
              <a:t>Tensorflow</a:t>
            </a:r>
            <a:r>
              <a:rPr lang="de-DE" sz="619" dirty="0"/>
              <a:t>)</a:t>
            </a:r>
          </a:p>
          <a:p>
            <a:pPr algn="ctr"/>
            <a:r>
              <a:rPr lang="de-DE" sz="619" dirty="0"/>
              <a:t>Model Serv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1C65BB2-A706-980A-47C4-A528BACE5044}"/>
              </a:ext>
            </a:extLst>
          </p:cNvPr>
          <p:cNvSpPr/>
          <p:nvPr/>
        </p:nvSpPr>
        <p:spPr>
          <a:xfrm>
            <a:off x="2336801" y="5288569"/>
            <a:ext cx="753874" cy="52910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19" dirty="0" err="1"/>
              <a:t>Gradio</a:t>
            </a:r>
            <a:r>
              <a:rPr lang="de-DE" sz="619" dirty="0"/>
              <a:t> App</a:t>
            </a:r>
          </a:p>
          <a:p>
            <a:pPr algn="ctr"/>
            <a:r>
              <a:rPr lang="de-DE" sz="619" dirty="0"/>
              <a:t>(Input: Text, Pic;</a:t>
            </a:r>
            <a:br>
              <a:rPr lang="de-DE" sz="619" dirty="0"/>
            </a:br>
            <a:r>
              <a:rPr lang="de-DE" sz="619" dirty="0"/>
              <a:t>Output: Word </a:t>
            </a:r>
            <a:r>
              <a:rPr lang="de-DE" sz="619" dirty="0" err="1"/>
              <a:t>cloud</a:t>
            </a:r>
            <a:r>
              <a:rPr lang="de-DE" sz="619" dirty="0"/>
              <a:t>, </a:t>
            </a:r>
            <a:r>
              <a:rPr lang="de-DE" sz="619" dirty="0" err="1"/>
              <a:t>statistics</a:t>
            </a:r>
            <a:r>
              <a:rPr lang="de-DE" sz="619" dirty="0"/>
              <a:t>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D0904C-02D3-9F69-4485-E4B0A8321707}"/>
              </a:ext>
            </a:extLst>
          </p:cNvPr>
          <p:cNvSpPr/>
          <p:nvPr/>
        </p:nvSpPr>
        <p:spPr>
          <a:xfrm>
            <a:off x="4472011" y="8188600"/>
            <a:ext cx="753874" cy="52910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19" dirty="0">
                <a:solidFill>
                  <a:schemeClr val="tx1"/>
                </a:solidFill>
              </a:rPr>
              <a:t>End </a:t>
            </a:r>
            <a:r>
              <a:rPr lang="de-DE" sz="619" dirty="0" err="1">
                <a:solidFill>
                  <a:schemeClr val="tx1"/>
                </a:solidFill>
              </a:rPr>
              <a:t>user</a:t>
            </a:r>
            <a:br>
              <a:rPr lang="de-DE" sz="619" dirty="0">
                <a:solidFill>
                  <a:schemeClr val="tx1"/>
                </a:solidFill>
              </a:rPr>
            </a:br>
            <a:r>
              <a:rPr lang="de-DE" sz="619" dirty="0">
                <a:solidFill>
                  <a:schemeClr val="tx1"/>
                </a:solidFill>
              </a:rPr>
              <a:t>(Browser)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B38A514D-E009-E82F-659F-84E8541B4A2C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>
            <a:off x="3823996" y="4803982"/>
            <a:ext cx="0" cy="4845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1E94117-4D96-2C3F-8136-EF158B9FDA2A}"/>
              </a:ext>
            </a:extLst>
          </p:cNvPr>
          <p:cNvSpPr txBox="1"/>
          <p:nvPr/>
        </p:nvSpPr>
        <p:spPr>
          <a:xfrm>
            <a:off x="3232586" y="4896963"/>
            <a:ext cx="1115061" cy="1876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619" dirty="0" err="1"/>
              <a:t>google</a:t>
            </a:r>
            <a:r>
              <a:rPr lang="de-DE" sz="619" dirty="0"/>
              <a:t>/vit-base-patch16-224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26E9DB9-B74E-F96C-B3AA-45B8357C0B86}"/>
              </a:ext>
            </a:extLst>
          </p:cNvPr>
          <p:cNvCxnSpPr>
            <a:cxnSpLocks/>
            <a:endCxn id="6" idx="1"/>
          </p:cNvCxnSpPr>
          <p:nvPr/>
        </p:nvCxnSpPr>
        <p:spPr>
          <a:xfrm>
            <a:off x="3090676" y="5553121"/>
            <a:ext cx="356383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D1C781D-3131-78FD-837B-B9D109696F20}"/>
              </a:ext>
            </a:extLst>
          </p:cNvPr>
          <p:cNvSpPr txBox="1"/>
          <p:nvPr/>
        </p:nvSpPr>
        <p:spPr>
          <a:xfrm>
            <a:off x="3092782" y="5427032"/>
            <a:ext cx="413896" cy="1876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19" dirty="0"/>
              <a:t>Pic, </a:t>
            </a:r>
            <a:r>
              <a:rPr lang="de-DE" sz="619" dirty="0" err="1"/>
              <a:t>Txt</a:t>
            </a:r>
            <a:endParaRPr lang="de-DE" sz="619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2E226B4-9FCC-98B2-0AAB-C024B171AEC2}"/>
              </a:ext>
            </a:extLst>
          </p:cNvPr>
          <p:cNvSpPr txBox="1"/>
          <p:nvPr/>
        </p:nvSpPr>
        <p:spPr>
          <a:xfrm>
            <a:off x="3068874" y="5612995"/>
            <a:ext cx="487634" cy="1615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50" dirty="0"/>
              <a:t>Classification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0541E77-2F01-3374-B15A-EF037B27403F}"/>
              </a:ext>
            </a:extLst>
          </p:cNvPr>
          <p:cNvCxnSpPr>
            <a:cxnSpLocks/>
          </p:cNvCxnSpPr>
          <p:nvPr/>
        </p:nvCxnSpPr>
        <p:spPr>
          <a:xfrm flipH="1" flipV="1">
            <a:off x="3090676" y="5622352"/>
            <a:ext cx="356383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E7F0B650-C86A-D388-9E04-5452AB8B3A88}"/>
              </a:ext>
            </a:extLst>
          </p:cNvPr>
          <p:cNvCxnSpPr>
            <a:cxnSpLocks/>
            <a:stCxn id="46" idx="0"/>
            <a:endCxn id="35" idx="2"/>
          </p:cNvCxnSpPr>
          <p:nvPr/>
        </p:nvCxnSpPr>
        <p:spPr>
          <a:xfrm flipV="1">
            <a:off x="2659169" y="6711284"/>
            <a:ext cx="0" cy="4860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A47D44AF-395B-6D9A-74E0-0CE7CD5AFDDA}"/>
              </a:ext>
            </a:extLst>
          </p:cNvPr>
          <p:cNvSpPr/>
          <p:nvPr/>
        </p:nvSpPr>
        <p:spPr>
          <a:xfrm>
            <a:off x="2294677" y="4274923"/>
            <a:ext cx="753874" cy="5291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19" dirty="0" err="1"/>
              <a:t>Example</a:t>
            </a:r>
            <a:r>
              <a:rPr lang="de-DE" sz="619" dirty="0"/>
              <a:t> Images</a:t>
            </a:r>
            <a:br>
              <a:rPr lang="de-DE" sz="619" dirty="0"/>
            </a:br>
            <a:r>
              <a:rPr lang="de-DE" sz="619" dirty="0"/>
              <a:t>(</a:t>
            </a:r>
            <a:r>
              <a:rPr lang="de-DE" sz="619" dirty="0" err="1"/>
              <a:t>picsum.photos</a:t>
            </a:r>
            <a:r>
              <a:rPr lang="de-DE" sz="619" dirty="0"/>
              <a:t>)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3E7E6258-AE47-DFA2-80B9-DFA7B0C6DD5A}"/>
              </a:ext>
            </a:extLst>
          </p:cNvPr>
          <p:cNvCxnSpPr/>
          <p:nvPr/>
        </p:nvCxnSpPr>
        <p:spPr>
          <a:xfrm>
            <a:off x="2713738" y="4804026"/>
            <a:ext cx="0" cy="4763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A8835018-569D-C58A-1BED-8EAA8099C655}"/>
              </a:ext>
            </a:extLst>
          </p:cNvPr>
          <p:cNvSpPr/>
          <p:nvPr/>
        </p:nvSpPr>
        <p:spPr>
          <a:xfrm>
            <a:off x="2216868" y="6139328"/>
            <a:ext cx="884603" cy="571956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19" dirty="0"/>
              <a:t>Lokal in Docker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7699A29-C693-A672-387F-BB50CF6118DC}"/>
              </a:ext>
            </a:extLst>
          </p:cNvPr>
          <p:cNvSpPr/>
          <p:nvPr/>
        </p:nvSpPr>
        <p:spPr>
          <a:xfrm>
            <a:off x="3169487" y="6139329"/>
            <a:ext cx="884603" cy="571956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19" dirty="0"/>
              <a:t>Sources in GitHub</a:t>
            </a:r>
          </a:p>
        </p:txBody>
      </p:sp>
      <p:sp>
        <p:nvSpPr>
          <p:cNvPr id="37" name="Arrow: Down 36">
            <a:extLst>
              <a:ext uri="{FF2B5EF4-FFF2-40B4-BE49-F238E27FC236}">
                <a16:creationId xmlns:a16="http://schemas.microsoft.com/office/drawing/2014/main" id="{05F0834D-8A35-AEBC-861A-DCD16D959AD6}"/>
              </a:ext>
            </a:extLst>
          </p:cNvPr>
          <p:cNvSpPr/>
          <p:nvPr/>
        </p:nvSpPr>
        <p:spPr>
          <a:xfrm>
            <a:off x="2603815" y="5970984"/>
            <a:ext cx="110710" cy="13457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19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798EB3E-CD20-BC3E-59F8-7488AB578BDE}"/>
              </a:ext>
            </a:extLst>
          </p:cNvPr>
          <p:cNvSpPr/>
          <p:nvPr/>
        </p:nvSpPr>
        <p:spPr>
          <a:xfrm>
            <a:off x="4406646" y="7154519"/>
            <a:ext cx="884603" cy="571956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19" dirty="0" err="1"/>
              <a:t>Deployed</a:t>
            </a:r>
            <a:r>
              <a:rPr lang="de-DE" sz="619" dirty="0"/>
              <a:t> </a:t>
            </a:r>
            <a:r>
              <a:rPr lang="de-DE" sz="619" dirty="0" err="1"/>
              <a:t>service</a:t>
            </a:r>
            <a:br>
              <a:rPr lang="de-DE" sz="619" dirty="0"/>
            </a:br>
            <a:r>
              <a:rPr lang="de-DE" sz="619" dirty="0"/>
              <a:t>in Azure</a:t>
            </a:r>
          </a:p>
        </p:txBody>
      </p:sp>
      <p:sp>
        <p:nvSpPr>
          <p:cNvPr id="39" name="Arrow: Down 38">
            <a:extLst>
              <a:ext uri="{FF2B5EF4-FFF2-40B4-BE49-F238E27FC236}">
                <a16:creationId xmlns:a16="http://schemas.microsoft.com/office/drawing/2014/main" id="{F0110C44-D4F2-8925-FCF9-0565ADD533CE}"/>
              </a:ext>
            </a:extLst>
          </p:cNvPr>
          <p:cNvSpPr/>
          <p:nvPr/>
        </p:nvSpPr>
        <p:spPr>
          <a:xfrm>
            <a:off x="3556433" y="5950752"/>
            <a:ext cx="110710" cy="13457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19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ED1236A-E4AE-0CB1-51D0-643C2E768123}"/>
              </a:ext>
            </a:extLst>
          </p:cNvPr>
          <p:cNvSpPr/>
          <p:nvPr/>
        </p:nvSpPr>
        <p:spPr>
          <a:xfrm>
            <a:off x="2282233" y="7197371"/>
            <a:ext cx="753874" cy="529104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19" dirty="0"/>
              <a:t>Developer</a:t>
            </a:r>
            <a:br>
              <a:rPr lang="de-DE" sz="619" dirty="0"/>
            </a:br>
            <a:r>
              <a:rPr lang="de-DE" sz="619" dirty="0"/>
              <a:t>(Browser)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4259F6E-58A6-93BA-9A25-55F385D1570E}"/>
              </a:ext>
            </a:extLst>
          </p:cNvPr>
          <p:cNvCxnSpPr>
            <a:cxnSpLocks/>
          </p:cNvCxnSpPr>
          <p:nvPr/>
        </p:nvCxnSpPr>
        <p:spPr>
          <a:xfrm flipV="1">
            <a:off x="4848947" y="7726475"/>
            <a:ext cx="0" cy="4860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39D758A6-E83F-F2B5-5ECD-852765FAF7C4}"/>
              </a:ext>
            </a:extLst>
          </p:cNvPr>
          <p:cNvSpPr/>
          <p:nvPr/>
        </p:nvSpPr>
        <p:spPr>
          <a:xfrm>
            <a:off x="4402715" y="5288569"/>
            <a:ext cx="753874" cy="52910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19" dirty="0"/>
              <a:t>Covid Dashboard</a:t>
            </a:r>
          </a:p>
          <a:p>
            <a:pPr algn="ctr"/>
            <a:r>
              <a:rPr lang="de-DE" sz="619" dirty="0"/>
              <a:t>(Mercury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114CF36-7D20-A2E1-5520-D336375A87A7}"/>
              </a:ext>
            </a:extLst>
          </p:cNvPr>
          <p:cNvSpPr/>
          <p:nvPr/>
        </p:nvSpPr>
        <p:spPr>
          <a:xfrm>
            <a:off x="4401200" y="4270849"/>
            <a:ext cx="817613" cy="5291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19" dirty="0"/>
              <a:t>Covid19datahub.io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F36429E-AB97-38CC-40D3-85F625A828FD}"/>
              </a:ext>
            </a:extLst>
          </p:cNvPr>
          <p:cNvCxnSpPr/>
          <p:nvPr/>
        </p:nvCxnSpPr>
        <p:spPr>
          <a:xfrm>
            <a:off x="4809913" y="4799953"/>
            <a:ext cx="0" cy="4763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3F2A48BD-E575-26A1-531B-A8D2D03ED6EC}"/>
              </a:ext>
            </a:extLst>
          </p:cNvPr>
          <p:cNvSpPr/>
          <p:nvPr/>
        </p:nvSpPr>
        <p:spPr>
          <a:xfrm>
            <a:off x="4406646" y="6139329"/>
            <a:ext cx="884603" cy="571956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19" dirty="0" err="1"/>
              <a:t>DockerHub</a:t>
            </a:r>
            <a:endParaRPr lang="de-DE" sz="619" dirty="0"/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FB7ADE5-7FED-94F9-EFCA-88FA4ECB7415}"/>
              </a:ext>
            </a:extLst>
          </p:cNvPr>
          <p:cNvCxnSpPr>
            <a:cxnSpLocks/>
            <a:stCxn id="36" idx="3"/>
            <a:endCxn id="26" idx="1"/>
          </p:cNvCxnSpPr>
          <p:nvPr/>
        </p:nvCxnSpPr>
        <p:spPr>
          <a:xfrm>
            <a:off x="4054090" y="6425307"/>
            <a:ext cx="35255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83F89786-7CBF-3B5E-8583-85BE69EAA1B6}"/>
              </a:ext>
            </a:extLst>
          </p:cNvPr>
          <p:cNvSpPr txBox="1"/>
          <p:nvPr/>
        </p:nvSpPr>
        <p:spPr>
          <a:xfrm>
            <a:off x="3984736" y="6286806"/>
            <a:ext cx="421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" dirty="0"/>
              <a:t>1) </a:t>
            </a:r>
            <a:r>
              <a:rPr lang="de-DE" sz="600" dirty="0" err="1"/>
              <a:t>build</a:t>
            </a:r>
            <a:endParaRPr lang="de-DE" sz="600" dirty="0"/>
          </a:p>
          <a:p>
            <a:r>
              <a:rPr lang="de-DE" sz="600" dirty="0"/>
              <a:t>2) push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30FCD136-13F1-689B-42F9-1C31777E90BF}"/>
              </a:ext>
            </a:extLst>
          </p:cNvPr>
          <p:cNvCxnSpPr>
            <a:cxnSpLocks/>
            <a:stCxn id="36" idx="2"/>
            <a:endCxn id="38" idx="1"/>
          </p:cNvCxnSpPr>
          <p:nvPr/>
        </p:nvCxnSpPr>
        <p:spPr>
          <a:xfrm>
            <a:off x="3611789" y="6711285"/>
            <a:ext cx="794857" cy="7292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EAA2BFD5-1B00-02C6-48E1-305A8BEEE214}"/>
              </a:ext>
            </a:extLst>
          </p:cNvPr>
          <p:cNvCxnSpPr>
            <a:cxnSpLocks/>
            <a:stCxn id="38" idx="0"/>
            <a:endCxn id="26" idx="2"/>
          </p:cNvCxnSpPr>
          <p:nvPr/>
        </p:nvCxnSpPr>
        <p:spPr>
          <a:xfrm flipV="1">
            <a:off x="4848948" y="6711285"/>
            <a:ext cx="0" cy="4432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FA146704-FFDA-372E-73E2-4030CF7C1B9A}"/>
              </a:ext>
            </a:extLst>
          </p:cNvPr>
          <p:cNvSpPr txBox="1"/>
          <p:nvPr/>
        </p:nvSpPr>
        <p:spPr>
          <a:xfrm>
            <a:off x="3904617" y="6891225"/>
            <a:ext cx="47641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" dirty="0"/>
              <a:t>3) deploy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7F6F820-5F3E-6AAB-8A2B-229EEDB0874B}"/>
              </a:ext>
            </a:extLst>
          </p:cNvPr>
          <p:cNvSpPr txBox="1"/>
          <p:nvPr/>
        </p:nvSpPr>
        <p:spPr>
          <a:xfrm>
            <a:off x="4693252" y="6861236"/>
            <a:ext cx="38023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" dirty="0"/>
              <a:t>4) pull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1FB4363-6554-48A8-9EDD-AB4E5DD8DE26}"/>
              </a:ext>
            </a:extLst>
          </p:cNvPr>
          <p:cNvSpPr txBox="1"/>
          <p:nvPr/>
        </p:nvSpPr>
        <p:spPr>
          <a:xfrm>
            <a:off x="2352675" y="5925853"/>
            <a:ext cx="30649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" dirty="0" err="1"/>
              <a:t>Dev</a:t>
            </a:r>
            <a:endParaRPr lang="de-DE" sz="6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B83B6BC-4563-7675-7F72-C2A46BC0107E}"/>
              </a:ext>
            </a:extLst>
          </p:cNvPr>
          <p:cNvSpPr txBox="1"/>
          <p:nvPr/>
        </p:nvSpPr>
        <p:spPr>
          <a:xfrm>
            <a:off x="3224834" y="5925853"/>
            <a:ext cx="36580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" dirty="0"/>
              <a:t>CI/CD</a:t>
            </a:r>
          </a:p>
        </p:txBody>
      </p:sp>
    </p:spTree>
    <p:extLst>
      <p:ext uri="{BB962C8B-B14F-4D97-AF65-F5344CB8AC3E}">
        <p14:creationId xmlns:p14="http://schemas.microsoft.com/office/powerpoint/2010/main" val="8090939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87</Words>
  <Application>Microsoft Office PowerPoint</Application>
  <PresentationFormat>Widescreen</PresentationFormat>
  <Paragraphs>3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eigl-Pollack, Andreas</dc:creator>
  <cp:lastModifiedBy>Weigl-Pollack, Andreas</cp:lastModifiedBy>
  <cp:revision>1</cp:revision>
  <dcterms:created xsi:type="dcterms:W3CDTF">2023-01-14T18:53:43Z</dcterms:created>
  <dcterms:modified xsi:type="dcterms:W3CDTF">2023-01-23T19:24:35Z</dcterms:modified>
</cp:coreProperties>
</file>